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6" r:id="rId2"/>
    <p:sldId id="257" r:id="rId3"/>
    <p:sldId id="300" r:id="rId4"/>
    <p:sldId id="299" r:id="rId5"/>
  </p:sldIdLst>
  <p:sldSz cx="12192000" cy="6858000"/>
  <p:notesSz cx="9926638" cy="679767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02" autoAdjust="0"/>
    <p:restoredTop sz="72396" autoAdjust="0"/>
  </p:normalViewPr>
  <p:slideViewPr>
    <p:cSldViewPr snapToGrid="0">
      <p:cViewPr varScale="1">
        <p:scale>
          <a:sx n="63" d="100"/>
          <a:sy n="63" d="100"/>
        </p:scale>
        <p:origin x="868" y="56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31.10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&lt;Veranstaltung&gt; | &lt;Name&gt;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&lt;Veranstaltung&gt; | &lt;Name&gt;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&lt;Veranstaltung&gt; | &lt;Name&gt;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&lt;Veranstaltung&gt; | &lt;Name&gt;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&lt;Veranstaltung&gt; | &lt;Name&gt;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8.sv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jp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9.jpg"/><Relationship Id="rId11" Type="http://schemas.openxmlformats.org/officeDocument/2006/relationships/image" Target="../media/image14.jpg"/><Relationship Id="rId5" Type="http://schemas.openxmlformats.org/officeDocument/2006/relationships/image" Target="../media/image1.emf"/><Relationship Id="rId10" Type="http://schemas.openxmlformats.org/officeDocument/2006/relationships/image" Target="../media/image13.jp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4" y="1800225"/>
            <a:ext cx="9069705" cy="1847850"/>
          </a:xfrm>
        </p:spPr>
        <p:txBody>
          <a:bodyPr/>
          <a:lstStyle/>
          <a:p>
            <a:r>
              <a:rPr lang="de-DE" dirty="0"/>
              <a:t>Zwischenpräsentation – Michael Seitz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31.10.2022</a:t>
            </a:r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EFAD7-81CD-4AB0-BCA3-DFFC7DA5D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: Kleinkind-Detektion für mehr Sicherhei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F84019-3272-432E-AB97-B5BB4649AC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eminar Business Analytics | Michael Seitz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27192D-3726-47A0-A666-7D3DB874D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00706" name="Picture 2">
            <a:extLst>
              <a:ext uri="{FF2B5EF4-FFF2-40B4-BE49-F238E27FC236}">
                <a16:creationId xmlns:a16="http://schemas.microsoft.com/office/drawing/2014/main" id="{CE1BC53F-0217-F90E-DDAD-62F9D42DA8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8"/>
          <a:stretch/>
        </p:blipFill>
        <p:spPr bwMode="auto">
          <a:xfrm>
            <a:off x="940691" y="4130104"/>
            <a:ext cx="3907010" cy="213926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27899A7-434B-2D50-205D-7CB05602B90B}"/>
              </a:ext>
            </a:extLst>
          </p:cNvPr>
          <p:cNvSpPr txBox="1"/>
          <p:nvPr/>
        </p:nvSpPr>
        <p:spPr>
          <a:xfrm>
            <a:off x="813976" y="1819852"/>
            <a:ext cx="4042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oblem: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0AF5B0-712E-F404-B968-4377608D3179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805" y="2314160"/>
            <a:ext cx="3915896" cy="169096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DC8E8B2-D0B0-14CE-9191-46B6AE87DFBD}"/>
              </a:ext>
            </a:extLst>
          </p:cNvPr>
          <p:cNvSpPr txBox="1"/>
          <p:nvPr/>
        </p:nvSpPr>
        <p:spPr>
          <a:xfrm>
            <a:off x="5872480" y="1881468"/>
            <a:ext cx="631952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Ziel: Automatische Erkennung</a:t>
            </a:r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odell trainieren &amp; prototypische Anwend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valuation bzgl. Genauigkeit/Rechenzeiten/Praxiseinsatz</a:t>
            </a:r>
          </a:p>
        </p:txBody>
      </p:sp>
      <p:cxnSp>
        <p:nvCxnSpPr>
          <p:cNvPr id="16" name="Straight Connector 10">
            <a:extLst>
              <a:ext uri="{FF2B5EF4-FFF2-40B4-BE49-F238E27FC236}">
                <a16:creationId xmlns:a16="http://schemas.microsoft.com/office/drawing/2014/main" id="{275BC196-4234-8654-3A83-3240BE54C142}"/>
              </a:ext>
            </a:extLst>
          </p:cNvPr>
          <p:cNvCxnSpPr>
            <a:cxnSpLocks/>
          </p:cNvCxnSpPr>
          <p:nvPr/>
        </p:nvCxnSpPr>
        <p:spPr>
          <a:xfrm>
            <a:off x="5711317" y="1881468"/>
            <a:ext cx="0" cy="4480503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F1F8F6C-08B5-8143-99C6-39E6428554EA}"/>
              </a:ext>
            </a:extLst>
          </p:cNvPr>
          <p:cNvGrpSpPr/>
          <p:nvPr/>
        </p:nvGrpSpPr>
        <p:grpSpPr>
          <a:xfrm>
            <a:off x="6258560" y="2537526"/>
            <a:ext cx="4124960" cy="2587644"/>
            <a:chOff x="6391518" y="2899874"/>
            <a:chExt cx="3523763" cy="2210505"/>
          </a:xfrm>
        </p:grpSpPr>
        <p:pic>
          <p:nvPicPr>
            <p:cNvPr id="12" name="Grafik 11" descr="Ein Bild, das Gras, klein, draußen, Person enthält.&#10;&#10;Automatisch generierte Beschreibung">
              <a:extLst>
                <a:ext uri="{FF2B5EF4-FFF2-40B4-BE49-F238E27FC236}">
                  <a16:creationId xmlns:a16="http://schemas.microsoft.com/office/drawing/2014/main" id="{453AB1E4-2DE1-47C0-1915-393906FC47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903"/>
            <a:stretch/>
          </p:blipFill>
          <p:spPr>
            <a:xfrm>
              <a:off x="6391518" y="2899874"/>
              <a:ext cx="3523763" cy="2210505"/>
            </a:xfrm>
            <a:prstGeom prst="rect">
              <a:avLst/>
            </a:prstGeom>
          </p:spPr>
        </p:pic>
        <p:pic>
          <p:nvPicPr>
            <p:cNvPr id="8" name="Grafik 7" descr="Warnung mit einfarbiger Füllung">
              <a:extLst>
                <a:ext uri="{FF2B5EF4-FFF2-40B4-BE49-F238E27FC236}">
                  <a16:creationId xmlns:a16="http://schemas.microsoft.com/office/drawing/2014/main" id="{2E5BC45F-C5E7-46CF-576A-4C37ED9C5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91518" y="2994977"/>
              <a:ext cx="567771" cy="567771"/>
            </a:xfrm>
            <a:prstGeom prst="rect">
              <a:avLst/>
            </a:prstGeom>
          </p:spPr>
        </p:pic>
        <p:pic>
          <p:nvPicPr>
            <p:cNvPr id="9" name="Grafik 8" descr="Warnung mit einfarbiger Füllung">
              <a:extLst>
                <a:ext uri="{FF2B5EF4-FFF2-40B4-BE49-F238E27FC236}">
                  <a16:creationId xmlns:a16="http://schemas.microsoft.com/office/drawing/2014/main" id="{72574AD5-F390-0825-30F0-EE1445861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347510" y="2994978"/>
              <a:ext cx="567771" cy="5677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5217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F06CF964-9F12-E0D0-7729-7F02ADBD4BDB}"/>
              </a:ext>
            </a:extLst>
          </p:cNvPr>
          <p:cNvSpPr/>
          <p:nvPr/>
        </p:nvSpPr>
        <p:spPr>
          <a:xfrm>
            <a:off x="321714" y="1806202"/>
            <a:ext cx="3210758" cy="4819354"/>
          </a:xfrm>
          <a:prstGeom prst="roundRect">
            <a:avLst>
              <a:gd name="adj" fmla="val 630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tensatz erstel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tenaufbereitu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Training eines ersten Modells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(mit Tensorflow OD API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81D4C74-7772-42A3-AD27-E001AFB1E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81D4C74-7772-42A3-AD27-E001AFB1E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491702-A857-4574-A315-49A1734A58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CEFAD7-81CD-4AB0-BCA3-DFFC7DA5D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ueller Stan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27192D-3726-47A0-A666-7D3DB874D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8" name="Grafik 7" descr="Ein Bild, das drinnen, Boden, Baby enthält.&#10;&#10;Automatisch generierte Beschreibung">
            <a:extLst>
              <a:ext uri="{FF2B5EF4-FFF2-40B4-BE49-F238E27FC236}">
                <a16:creationId xmlns:a16="http://schemas.microsoft.com/office/drawing/2014/main" id="{C8DB7744-FA37-BDA5-74F7-85FCAE1EB3E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8" r="20921"/>
          <a:stretch/>
        </p:blipFill>
        <p:spPr>
          <a:xfrm>
            <a:off x="3616061" y="2100150"/>
            <a:ext cx="2283937" cy="223716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9D6299C-926C-B292-FDF5-30844F2C660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7" t="39057" r="21561"/>
          <a:stretch/>
        </p:blipFill>
        <p:spPr>
          <a:xfrm>
            <a:off x="8949992" y="4453133"/>
            <a:ext cx="2390008" cy="1999134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FE31145-1CBC-987D-0EDF-053AC372FE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9" t="22207" r="25241"/>
          <a:stretch/>
        </p:blipFill>
        <p:spPr bwMode="auto">
          <a:xfrm>
            <a:off x="3616061" y="4428785"/>
            <a:ext cx="2299878" cy="196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5EEEA9FC-7387-9AC4-F43B-9B0F2229AB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1609" y="6464299"/>
            <a:ext cx="6971791" cy="149225"/>
          </a:xfrm>
        </p:spPr>
        <p:txBody>
          <a:bodyPr/>
          <a:lstStyle/>
          <a:p>
            <a:r>
              <a:rPr lang="en-US" dirty="0"/>
              <a:t>Seminar Business Analytics | Michael Seitz</a:t>
            </a:r>
          </a:p>
        </p:txBody>
      </p:sp>
      <p:pic>
        <p:nvPicPr>
          <p:cNvPr id="20" name="Grafik 19" descr="Ein Bild, das Text, Gras, draußen, Outdoorobjekt enthält.&#10;&#10;Automatisch generierte Beschreibung">
            <a:extLst>
              <a:ext uri="{FF2B5EF4-FFF2-40B4-BE49-F238E27FC236}">
                <a16:creationId xmlns:a16="http://schemas.microsoft.com/office/drawing/2014/main" id="{9D74F274-2FB5-380D-5412-7A79342CC56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40"/>
          <a:stretch/>
        </p:blipFill>
        <p:spPr>
          <a:xfrm>
            <a:off x="6184061" y="2100150"/>
            <a:ext cx="2283937" cy="2273703"/>
          </a:xfrm>
          <a:prstGeom prst="rect">
            <a:avLst/>
          </a:prstGeom>
        </p:spPr>
      </p:pic>
      <p:pic>
        <p:nvPicPr>
          <p:cNvPr id="22" name="Grafik 21" descr="Ein Bild, das Gras, Baum, draußen, Feld enthält.&#10;&#10;Automatisch generierte Beschreibung">
            <a:extLst>
              <a:ext uri="{FF2B5EF4-FFF2-40B4-BE49-F238E27FC236}">
                <a16:creationId xmlns:a16="http://schemas.microsoft.com/office/drawing/2014/main" id="{BFC53F71-793E-8B03-E73D-62A163C51F4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575"/>
          <a:stretch/>
        </p:blipFill>
        <p:spPr>
          <a:xfrm>
            <a:off x="6184062" y="4453133"/>
            <a:ext cx="2283936" cy="19630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102CCD0-EE8C-D837-BC2D-79096B3CF04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5058" y="2100150"/>
            <a:ext cx="1483422" cy="2225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2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4011D9-7F13-5EA1-F4EF-7715A8BA4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iskussion &amp; nächste Schrit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62B2F8-7DAB-2B8E-23C4-8376442F95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26D5998-9672-C4EF-B1AD-A3808228B8CC}"/>
              </a:ext>
            </a:extLst>
          </p:cNvPr>
          <p:cNvSpPr txBox="1"/>
          <p:nvPr/>
        </p:nvSpPr>
        <p:spPr>
          <a:xfrm>
            <a:off x="132082" y="3255276"/>
            <a:ext cx="5747817" cy="2247424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Welche Detektionsklassen bzw. Abstufungen nach Altersgruppe?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i="1" dirty="0">
                <a:solidFill>
                  <a:schemeClr val="tx1"/>
                </a:solidFill>
              </a:rPr>
              <a:t>Kleinkind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i="1" dirty="0">
                <a:solidFill>
                  <a:schemeClr val="tx1"/>
                </a:solidFill>
              </a:rPr>
              <a:t>Kleinkind</a:t>
            </a:r>
            <a:r>
              <a:rPr lang="de-DE" dirty="0">
                <a:solidFill>
                  <a:schemeClr val="tx1"/>
                </a:solidFill>
              </a:rPr>
              <a:t> / </a:t>
            </a:r>
            <a:r>
              <a:rPr lang="de-DE" i="1" dirty="0">
                <a:solidFill>
                  <a:schemeClr val="tx1"/>
                </a:solidFill>
              </a:rPr>
              <a:t>Kind 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i="1" dirty="0">
                <a:solidFill>
                  <a:schemeClr val="tx1"/>
                </a:solidFill>
              </a:rPr>
              <a:t>Kleinkind </a:t>
            </a:r>
            <a:r>
              <a:rPr lang="de-DE" dirty="0">
                <a:solidFill>
                  <a:schemeClr val="tx1"/>
                </a:solidFill>
              </a:rPr>
              <a:t>/</a:t>
            </a:r>
            <a:r>
              <a:rPr lang="de-DE" i="1" dirty="0">
                <a:solidFill>
                  <a:schemeClr val="tx1"/>
                </a:solidFill>
              </a:rPr>
              <a:t> Kind </a:t>
            </a:r>
            <a:r>
              <a:rPr lang="de-DE" dirty="0">
                <a:solidFill>
                  <a:schemeClr val="tx1"/>
                </a:solidFill>
              </a:rPr>
              <a:t>/</a:t>
            </a:r>
            <a:r>
              <a:rPr lang="de-DE" i="1" dirty="0">
                <a:solidFill>
                  <a:schemeClr val="tx1"/>
                </a:solidFill>
              </a:rPr>
              <a:t> Erwachsene</a:t>
            </a:r>
          </a:p>
          <a:p>
            <a:endParaRPr lang="de-DE" i="1" dirty="0">
              <a:solidFill>
                <a:schemeClr val="tx1"/>
              </a:solidFill>
            </a:endParaRPr>
          </a:p>
          <a:p>
            <a:pPr lvl="1"/>
            <a:r>
              <a:rPr lang="de-DE" i="1" dirty="0">
                <a:solidFill>
                  <a:schemeClr val="tx1"/>
                </a:solidFill>
              </a:rPr>
              <a:t>    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C6CE5A56-1E12-EBD1-D221-FFE185172F76}"/>
              </a:ext>
            </a:extLst>
          </p:cNvPr>
          <p:cNvSpPr txBox="1">
            <a:spLocks/>
          </p:cNvSpPr>
          <p:nvPr/>
        </p:nvSpPr>
        <p:spPr>
          <a:xfrm>
            <a:off x="13340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eminar Business Analytics | Michael Seitz</a:t>
            </a:r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7051224-9B3D-A3EB-A7E7-6784B670CCD0}"/>
              </a:ext>
            </a:extLst>
          </p:cNvPr>
          <p:cNvSpPr txBox="1"/>
          <p:nvPr/>
        </p:nvSpPr>
        <p:spPr>
          <a:xfrm>
            <a:off x="6269656" y="3036099"/>
            <a:ext cx="5735586" cy="3291126"/>
          </a:xfrm>
          <a:prstGeom prst="roundRect">
            <a:avLst>
              <a:gd name="adj" fmla="val 8245"/>
            </a:avLst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Verbesserung des Modell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mehr Date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mehr Training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weitere Architekturen ausprobieren</a:t>
            </a:r>
          </a:p>
          <a:p>
            <a:pPr lvl="1"/>
            <a:endParaRPr lang="de-D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valuation des Modell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In Abhängigkeit des Schwellenwerte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Rechenzeite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Einsatzmöglichkeite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Inferenzanwendung erweitern</a:t>
            </a:r>
          </a:p>
        </p:txBody>
      </p:sp>
      <p:cxnSp>
        <p:nvCxnSpPr>
          <p:cNvPr id="10" name="Straight Connector 10">
            <a:extLst>
              <a:ext uri="{FF2B5EF4-FFF2-40B4-BE49-F238E27FC236}">
                <a16:creationId xmlns:a16="http://schemas.microsoft.com/office/drawing/2014/main" id="{88D3A241-70B4-2AEE-F168-409EC762D5EF}"/>
              </a:ext>
            </a:extLst>
          </p:cNvPr>
          <p:cNvCxnSpPr>
            <a:cxnSpLocks/>
          </p:cNvCxnSpPr>
          <p:nvPr/>
        </p:nvCxnSpPr>
        <p:spPr>
          <a:xfrm>
            <a:off x="5817870" y="2070100"/>
            <a:ext cx="0" cy="4257125"/>
          </a:xfrm>
          <a:prstGeom prst="line">
            <a:avLst/>
          </a:prstGeom>
          <a:ln w="3175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4BD8B91F-F3D3-D76F-7F05-96E038CBC4C3}"/>
              </a:ext>
            </a:extLst>
          </p:cNvPr>
          <p:cNvSpPr txBox="1"/>
          <p:nvPr/>
        </p:nvSpPr>
        <p:spPr>
          <a:xfrm>
            <a:off x="432000" y="2070100"/>
            <a:ext cx="5447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4389"/>
                </a:solidFill>
              </a:rPr>
              <a:t>Aktuelle Diskussion: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897AE38-0533-6BE6-D680-513B67511439}"/>
              </a:ext>
            </a:extLst>
          </p:cNvPr>
          <p:cNvSpPr txBox="1"/>
          <p:nvPr/>
        </p:nvSpPr>
        <p:spPr>
          <a:xfrm>
            <a:off x="6413500" y="2070100"/>
            <a:ext cx="5447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4389"/>
                </a:solidFill>
              </a:rPr>
              <a:t>Nächste</a:t>
            </a:r>
            <a:r>
              <a:rPr lang="de-DE" dirty="0"/>
              <a:t> </a:t>
            </a:r>
            <a:r>
              <a:rPr lang="de-DE" b="1" dirty="0">
                <a:solidFill>
                  <a:srgbClr val="004389"/>
                </a:solidFill>
              </a:rPr>
              <a:t>Schritte:</a:t>
            </a:r>
          </a:p>
        </p:txBody>
      </p:sp>
    </p:spTree>
    <p:extLst>
      <p:ext uri="{BB962C8B-B14F-4D97-AF65-F5344CB8AC3E}">
        <p14:creationId xmlns:p14="http://schemas.microsoft.com/office/powerpoint/2010/main" val="1334536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HINKCELLUNDODONOTDELETE" val="0"/>
  <p:tag name="TEMPLATELASTEDITED" val="2019-08-15 01:01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13anhhAEGQIOKBukl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A9811802-AEC9-44B8-ADB2-D57579416930}" vid="{F5F1C9CD-44E3-4AAE-A3FC-789E2B2F18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0</TotalTime>
  <Words>116</Words>
  <Application>Microsoft Office PowerPoint</Application>
  <PresentationFormat>Breitbild</PresentationFormat>
  <Paragraphs>49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Courier New</vt:lpstr>
      <vt:lpstr>Symbol</vt:lpstr>
      <vt:lpstr>Wingdings</vt:lpstr>
      <vt:lpstr>Flath</vt:lpstr>
      <vt:lpstr>think-cell Slide</vt:lpstr>
      <vt:lpstr>Zwischenpräsentation – Michael Seitz</vt:lpstr>
      <vt:lpstr>Ziel: Kleinkind-Detektion für mehr Sicherheit</vt:lpstr>
      <vt:lpstr>Aktueller Stand </vt:lpstr>
      <vt:lpstr>Diskussion &amp; nächste Schrit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229676</dc:creator>
  <cp:keywords/>
  <dc:description/>
  <cp:lastModifiedBy>Michael Seitz</cp:lastModifiedBy>
  <cp:revision>18</cp:revision>
  <cp:lastPrinted>2018-08-28T11:15:39Z</cp:lastPrinted>
  <dcterms:created xsi:type="dcterms:W3CDTF">2019-10-24T11:48:27Z</dcterms:created>
  <dcterms:modified xsi:type="dcterms:W3CDTF">2022-10-31T15:06:2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